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2" d="100"/>
          <a:sy n="112" d="100"/>
        </p:scale>
        <p:origin x="758" y="91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Weigel Stefan (PAR-EPS)" userId="fd3b2067-2981-4ad8-bf3a-d2e1004e4fa8" providerId="ADAL" clId="{45052E30-102F-4D8D-8F74-E55CE197559C}"/>
    <pc:docChg chg="modSld">
      <pc:chgData name="Weigel Stefan (PAR-EPS)" userId="fd3b2067-2981-4ad8-bf3a-d2e1004e4fa8" providerId="ADAL" clId="{45052E30-102F-4D8D-8F74-E55CE197559C}" dt="2025-01-06T11:49:10.445" v="4" actId="20577"/>
      <pc:docMkLst>
        <pc:docMk/>
      </pc:docMkLst>
      <pc:sldChg chg="modSp mod">
        <pc:chgData name="Weigel Stefan (PAR-EPS)" userId="fd3b2067-2981-4ad8-bf3a-d2e1004e4fa8" providerId="ADAL" clId="{45052E30-102F-4D8D-8F74-E55CE197559C}" dt="2025-01-06T11:49:10.445" v="4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45052E30-102F-4D8D-8F74-E55CE197559C}" dt="2025-01-06T11:49:10.445" v="4" actId="20577"/>
          <ac:spMkLst>
            <pc:docMk/>
            <pc:sldMk cId="1708932620" sldId="407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Weigel Stefan (PAR-ES)" userId="fd3b2067-2981-4ad8-bf3a-d2e1004e4fa8" providerId="ADAL" clId="{3E74DC29-A7D4-4103-A45F-90B4F4E024A2}"/>
    <pc:docChg chg="delSld">
      <pc:chgData name="Weigel Stefan (PAR-ES)" userId="fd3b2067-2981-4ad8-bf3a-d2e1004e4fa8" providerId="ADAL" clId="{3E74DC29-A7D4-4103-A45F-90B4F4E024A2}" dt="2022-03-10T09:45:57.688" v="0" actId="2696"/>
      <pc:docMkLst>
        <pc:docMk/>
      </pc:docMkLst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1116898475" sldId="408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3294247987" sldId="409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S)" userId="fd3b2067-2981-4ad8-bf3a-d2e1004e4fa8" providerId="ADAL" clId="{8E9F581B-9978-4E27-8824-9A5D0F0D6AED}"/>
    <pc:docChg chg="modSld">
      <pc:chgData name="Weigel Stefan (PAR-ES)" userId="fd3b2067-2981-4ad8-bf3a-d2e1004e4fa8" providerId="ADAL" clId="{8E9F581B-9978-4E27-8824-9A5D0F0D6AED}" dt="2023-01-31T18:29:54.969" v="21" actId="27918"/>
      <pc:docMkLst>
        <pc:docMk/>
      </pc:docMkLst>
      <pc:sldChg chg="mod">
        <pc:chgData name="Weigel Stefan (PAR-ES)" userId="fd3b2067-2981-4ad8-bf3a-d2e1004e4fa8" providerId="ADAL" clId="{8E9F581B-9978-4E27-8824-9A5D0F0D6AED}" dt="2023-01-31T18:29:54.969" v="21" actId="27918"/>
        <pc:sldMkLst>
          <pc:docMk/>
          <pc:sldMk cId="1708932620" sldId="407"/>
        </pc:sldMkLst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341EF504-AEA8-4CAA-B298-E01B929C708B}"/>
    <pc:docChg chg="custSel modSld">
      <pc:chgData name="Weigel Stefan (PAR-EPS)" userId="fd3b2067-2981-4ad8-bf3a-d2e1004e4fa8" providerId="ADAL" clId="{341EF504-AEA8-4CAA-B298-E01B929C708B}" dt="2024-02-28T13:51:48.709" v="33" actId="20577"/>
      <pc:docMkLst>
        <pc:docMk/>
      </pc:docMkLst>
      <pc:sldChg chg="delSp modSp mod">
        <pc:chgData name="Weigel Stefan (PAR-EPS)" userId="fd3b2067-2981-4ad8-bf3a-d2e1004e4fa8" providerId="ADAL" clId="{341EF504-AEA8-4CAA-B298-E01B929C708B}" dt="2024-02-28T13:51:48.709" v="33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341EF504-AEA8-4CAA-B298-E01B929C708B}" dt="2024-02-28T13:51:48.709" v="33" actId="20577"/>
          <ac:spMkLst>
            <pc:docMk/>
            <pc:sldMk cId="1708932620" sldId="407"/>
            <ac:spMk id="2" creationId="{00000000-0000-0000-0000-000000000000}"/>
          </ac:spMkLst>
        </pc:spChg>
        <pc:spChg chg="del">
          <ac:chgData name="Weigel Stefan (PAR-EPS)" userId="fd3b2067-2981-4ad8-bf3a-d2e1004e4fa8" providerId="ADAL" clId="{341EF504-AEA8-4CAA-B298-E01B929C708B}" dt="2024-02-28T13:51:37.032" v="31" actId="478"/>
          <ac:spMkLst>
            <pc:docMk/>
            <pc:sldMk cId="1708932620" sldId="407"/>
            <ac:spMk id="3" creationId="{44B1ED42-1DF6-DE06-FBC1-703DE49845A8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Weigel Stefan (PAR-EPS)" userId="fd3b2067-2981-4ad8-bf3a-d2e1004e4fa8" providerId="ADAL" clId="{BD6678AE-FC5B-44B1-AC61-6247560F25E7}"/>
    <pc:docChg chg="modSld">
      <pc:chgData name="Weigel Stefan (PAR-EPS)" userId="fd3b2067-2981-4ad8-bf3a-d2e1004e4fa8" providerId="ADAL" clId="{BD6678AE-FC5B-44B1-AC61-6247560F25E7}" dt="2024-04-11T13:55:35.463" v="10"/>
      <pc:docMkLst>
        <pc:docMk/>
      </pc:docMkLst>
      <pc:sldChg chg="modSp mod setBg">
        <pc:chgData name="Weigel Stefan (PAR-EPS)" userId="fd3b2067-2981-4ad8-bf3a-d2e1004e4fa8" providerId="ADAL" clId="{BD6678AE-FC5B-44B1-AC61-6247560F25E7}" dt="2024-04-11T13:55:35.463" v="10"/>
        <pc:sldMkLst>
          <pc:docMk/>
          <pc:sldMk cId="1708932620" sldId="407"/>
        </pc:sldMkLst>
        <pc:spChg chg="mod">
          <ac:chgData name="Weigel Stefan (PAR-EPS)" userId="fd3b2067-2981-4ad8-bf3a-d2e1004e4fa8" providerId="ADAL" clId="{BD6678AE-FC5B-44B1-AC61-6247560F25E7}" dt="2024-04-11T13:54:10.388" v="4" actId="255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PS)" userId="fd3b2067-2981-4ad8-bf3a-d2e1004e4fa8" providerId="ADAL" clId="{BD6678AE-FC5B-44B1-AC61-6247560F25E7}" dt="2024-04-11T13:54:06.446" v="3" actId="255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PS)" userId="fd3b2067-2981-4ad8-bf3a-d2e1004e4fa8" providerId="ADAL" clId="{BD6678AE-FC5B-44B1-AC61-6247560F25E7}" dt="2024-04-11T13:55:35.463" v="10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2D8A675-BF85-42D2-BFA7-DCAAE821E51D}"/>
    <pc:docChg chg="modSld">
      <pc:chgData name="Weigel Stefan (PAR-ES)" userId="fd3b2067-2981-4ad8-bf3a-d2e1004e4fa8" providerId="ADAL" clId="{C2D8A675-BF85-42D2-BFA7-DCAAE821E51D}" dt="2022-12-16T17:15:56.176" v="58" actId="27918"/>
      <pc:docMkLst>
        <pc:docMk/>
      </pc:docMkLst>
      <pc:sldChg chg="addSp modSp mod">
        <pc:chgData name="Weigel Stefan (PAR-ES)" userId="fd3b2067-2981-4ad8-bf3a-d2e1004e4fa8" providerId="ADAL" clId="{C2D8A675-BF85-42D2-BFA7-DCAAE821E51D}" dt="2022-12-16T17:15:56.176" v="58" actId="27918"/>
        <pc:sldMkLst>
          <pc:docMk/>
          <pc:sldMk cId="1708932620" sldId="407"/>
        </pc:sldMkLst>
        <pc:spChg chg="mod">
          <ac:chgData name="Weigel Stefan (PAR-ES)" userId="fd3b2067-2981-4ad8-bf3a-d2e1004e4fa8" providerId="ADAL" clId="{C2D8A675-BF85-42D2-BFA7-DCAAE821E51D}" dt="2022-12-16T12:34:39.893" v="3" actId="20577"/>
          <ac:spMkLst>
            <pc:docMk/>
            <pc:sldMk cId="1708932620" sldId="407"/>
            <ac:spMk id="2" creationId="{00000000-0000-0000-0000-000000000000}"/>
          </ac:spMkLst>
        </pc:spChg>
        <pc:spChg chg="add mod">
          <ac:chgData name="Weigel Stefan (PAR-ES)" userId="fd3b2067-2981-4ad8-bf3a-d2e1004e4fa8" providerId="ADAL" clId="{C2D8A675-BF85-42D2-BFA7-DCAAE821E51D}" dt="2022-12-16T12:39:42.801" v="56" actId="1037"/>
          <ac:spMkLst>
            <pc:docMk/>
            <pc:sldMk cId="1708932620" sldId="407"/>
            <ac:spMk id="3" creationId="{44B1ED42-1DF6-DE06-FBC1-703DE49845A8}"/>
          </ac:spMkLst>
        </pc:spChg>
        <pc:spChg chg="mod">
          <ac:chgData name="Weigel Stefan (PAR-ES)" userId="fd3b2067-2981-4ad8-bf3a-d2e1004e4fa8" providerId="ADAL" clId="{C2D8A675-BF85-42D2-BFA7-DCAAE821E51D}" dt="2022-12-16T12:34:55.893" v="8" actId="20577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S)" userId="fd3b2067-2981-4ad8-bf3a-d2e1004e4fa8" providerId="ADAL" clId="{C2D8A675-BF85-42D2-BFA7-DCAAE821E51D}" dt="2022-12-16T12:39:21.130" v="21" actId="554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S)" userId="fd3b2067-2981-4ad8-bf3a-d2e1004e4fa8" providerId="ADAL" clId="{C2D8A675-BF85-42D2-BFA7-DCAAE821E51D}" dt="2022-12-16T12:39:09.056" v="20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CE9A998A-10A6-4878-8EE7-A7DADB01757E}"/>
    <pc:docChg chg="modSld">
      <pc:chgData name="Weigel Stefan (PAR-EPS)" userId="fd3b2067-2981-4ad8-bf3a-d2e1004e4fa8" providerId="ADAL" clId="{CE9A998A-10A6-4878-8EE7-A7DADB01757E}" dt="2024-02-28T13:57:22.457" v="13" actId="20577"/>
      <pc:docMkLst>
        <pc:docMk/>
      </pc:docMkLst>
      <pc:sldChg chg="modSp mod">
        <pc:chgData name="Weigel Stefan (PAR-EPS)" userId="fd3b2067-2981-4ad8-bf3a-d2e1004e4fa8" providerId="ADAL" clId="{CE9A998A-10A6-4878-8EE7-A7DADB01757E}" dt="2024-02-28T13:57:22.457" v="13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CE9A998A-10A6-4878-8EE7-A7DADB01757E}" dt="2024-02-28T13:56:24.298" v="2" actId="20577"/>
          <ac:spMkLst>
            <pc:docMk/>
            <pc:sldMk cId="1708932620" sldId="407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CE9A998A-10A6-4878-8EE7-A7DADB01757E}" dt="2024-02-28T13:56:30.495" v="3"/>
          <ac:spMkLst>
            <pc:docMk/>
            <pc:sldMk cId="1708932620" sldId="407"/>
            <ac:spMk id="7" creationId="{5353CABD-91F1-4DCF-A637-4F62527C40F1}"/>
          </ac:spMkLst>
        </pc:spChg>
        <pc:spChg chg="mod">
          <ac:chgData name="Weigel Stefan (PAR-EPS)" userId="fd3b2067-2981-4ad8-bf3a-d2e1004e4fa8" providerId="ADAL" clId="{CE9A998A-10A6-4878-8EE7-A7DADB01757E}" dt="2024-02-28T13:57:22.457" v="13" actId="20577"/>
          <ac:spMkLst>
            <pc:docMk/>
            <pc:sldMk cId="1708932620" sldId="407"/>
            <ac:spMk id="8" creationId="{06532336-43AE-43F1-8B99-299E3E2FB919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21329255330686"/>
          <c:y val="3.9318010048961703E-2"/>
          <c:w val="0.8668776165376022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Densità rete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vegia</c:v>
                </c:pt>
                <c:pt idx="1">
                  <c:v>Finlandia</c:v>
                </c:pt>
                <c:pt idx="2">
                  <c:v>Svezia</c:v>
                </c:pt>
                <c:pt idx="3">
                  <c:v>Spagna</c:v>
                </c:pt>
                <c:pt idx="4">
                  <c:v>Romania</c:v>
                </c:pt>
                <c:pt idx="5">
                  <c:v>Francia</c:v>
                </c:pt>
                <c:pt idx="6">
                  <c:v>Italia</c:v>
                </c:pt>
                <c:pt idx="7">
                  <c:v>Danimarca</c:v>
                </c:pt>
                <c:pt idx="8">
                  <c:v>Polonia</c:v>
                </c:pt>
                <c:pt idx="9">
                  <c:v>Austria</c:v>
                </c:pt>
                <c:pt idx="10">
                  <c:v>Gran Bretagna</c:v>
                </c:pt>
                <c:pt idx="11">
                  <c:v>Paesi Bassi</c:v>
                </c:pt>
                <c:pt idx="12">
                  <c:v>Germania</c:v>
                </c:pt>
                <c:pt idx="13">
                  <c:v>Cechia</c:v>
                </c:pt>
                <c:pt idx="14">
                  <c:v>Svizzera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1512148686818</c:v>
                </c:pt>
                <c:pt idx="1">
                  <c:v>17.478746258248101</c:v>
                </c:pt>
                <c:pt idx="2">
                  <c:v>24.375089400657998</c:v>
                </c:pt>
                <c:pt idx="3">
                  <c:v>31.8459908732112</c:v>
                </c:pt>
                <c:pt idx="4">
                  <c:v>44.5096015906174</c:v>
                </c:pt>
                <c:pt idx="5">
                  <c:v>50.738332178420499</c:v>
                </c:pt>
                <c:pt idx="6">
                  <c:v>55.720523439232799</c:v>
                </c:pt>
                <c:pt idx="7">
                  <c:v>57.029702970297002</c:v>
                </c:pt>
                <c:pt idx="8">
                  <c:v>62.639455258905897</c:v>
                </c:pt>
                <c:pt idx="9">
                  <c:v>66.489425117432503</c:v>
                </c:pt>
                <c:pt idx="10">
                  <c:v>69.225317445973502</c:v>
                </c:pt>
                <c:pt idx="11">
                  <c:v>81.358018085504796</c:v>
                </c:pt>
                <c:pt idx="12">
                  <c:v>108.205688971919</c:v>
                </c:pt>
                <c:pt idx="13">
                  <c:v>120.627353526645</c:v>
                </c:pt>
                <c:pt idx="14">
                  <c:v>128.80283227978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6.01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Densità della rete ferroviaria in Europa </a:t>
            </a:r>
            <a:r>
              <a:rPr lang="it-IT"/>
              <a:t>nel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914656358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ratte ferroviarie in metri per chilometro quadrato di superficie del Paes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Fonti: 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urostat, BFS, ORR 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905D4DD-7199-48D2-9323-7EC8209A75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9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Densità della rete ferroviaria in Europa nel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nsità della rete ferroviaria in Europa nel 2023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1-06T11:5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